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51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72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2872297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3845" y="1727803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3845" y="2104040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5945" y="1727802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5945" y="209541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257" y="1419826"/>
            <a:ext cx="7997825" cy="307975"/>
          </a:xfrm>
        </p:spPr>
        <p:txBody>
          <a:bodyPr/>
          <a:lstStyle/>
          <a:p>
            <a:r>
              <a:rPr lang="de-DE" dirty="0"/>
              <a:t>Neue CPU am </a:t>
            </a:r>
            <a:r>
              <a:rPr lang="de-DE" dirty="0" err="1"/>
              <a:t>Preform-Orientierer</a:t>
            </a:r>
            <a:endParaRPr lang="de-DE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4729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Obsoleszenz</a:t>
            </a: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Series2 </a:t>
            </a:r>
            <a:r>
              <a:rPr lang="fr-FR" altLang="fr-FR" sz="800" dirty="0" err="1">
                <a:solidFill>
                  <a:srgbClr val="000000"/>
                </a:solidFill>
              </a:rPr>
              <a:t>Blasmaschinen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OCB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3004" y="2104039"/>
            <a:ext cx="3866263" cy="158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/>
              <a:t>Sicherere Lösung mit neustem Bauteil von Side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>
                <a:solidFill>
                  <a:srgbClr val="E64B00"/>
                </a:solidFill>
              </a:rPr>
              <a:t>Kann lange </a:t>
            </a:r>
            <a:r>
              <a:rPr lang="de-DE" sz="1100" b="1" dirty="0" err="1">
                <a:solidFill>
                  <a:srgbClr val="E64B00"/>
                </a:solidFill>
              </a:rPr>
              <a:t>Stillstandszeiten</a:t>
            </a:r>
            <a:r>
              <a:rPr lang="de-DE" sz="1100" b="1" dirty="0">
                <a:solidFill>
                  <a:srgbClr val="E64B00"/>
                </a:solidFill>
              </a:rPr>
              <a:t> bei Ausfall vermeiden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fahr der bevorstehenden Nichtverfügbarkeit von Ersatzteilen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fahr langer Produktionsstillstände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as Programm (SW) ist jetzt auf einer austauschbaren Speicherkarte installier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5945" y="2165490"/>
            <a:ext cx="3910143" cy="1041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Neue Kit-Komponenten: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CPU 312C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Abnehmbares 64K-EEPROM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Neues Programm (SW)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Neue </a:t>
            </a:r>
            <a:r>
              <a:rPr lang="fr-FR" sz="1100" dirty="0" err="1">
                <a:solidFill>
                  <a:srgbClr val="000000"/>
                </a:solidFill>
              </a:rPr>
              <a:t>Eingangs</a:t>
            </a:r>
            <a:r>
              <a:rPr lang="fr-FR" sz="1100" dirty="0">
                <a:solidFill>
                  <a:srgbClr val="000000"/>
                </a:solidFill>
              </a:rPr>
              <a:t>-SPS-</a:t>
            </a:r>
            <a:r>
              <a:rPr lang="fr-FR" sz="1100" dirty="0" err="1">
                <a:solidFill>
                  <a:srgbClr val="000000"/>
                </a:solidFill>
              </a:rPr>
              <a:t>Karte</a:t>
            </a:r>
            <a:endParaRPr lang="es-ES" sz="1100" dirty="0">
              <a:solidFill>
                <a:srgbClr val="00000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0F0FC44-41B8-4C82-A8E6-F0E020E194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397" y="4262055"/>
            <a:ext cx="1242754" cy="14255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E7FAE2D-3F2B-45FD-BAB9-5019A07CA4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9927" y="3869417"/>
            <a:ext cx="1242755" cy="124409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BE0B667-E45A-4BE0-B57B-03B4E76A0C4D}"/>
              </a:ext>
            </a:extLst>
          </p:cNvPr>
          <p:cNvSpPr txBox="1"/>
          <p:nvPr/>
        </p:nvSpPr>
        <p:spPr>
          <a:xfrm>
            <a:off x="2425808" y="399064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BEFO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38E61F-E669-4939-8577-65FC425893D7}"/>
              </a:ext>
            </a:extLst>
          </p:cNvPr>
          <p:cNvSpPr txBox="1"/>
          <p:nvPr/>
        </p:nvSpPr>
        <p:spPr>
          <a:xfrm>
            <a:off x="5423841" y="520876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AFT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2FF5F35-8BB1-4EF2-A5F5-4BA6F684554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414" y="4223309"/>
            <a:ext cx="1983317" cy="1487488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276DE2C-230B-4ACA-B37E-F63C24FD9C8D}"/>
              </a:ext>
            </a:extLst>
          </p:cNvPr>
          <p:cNvCxnSpPr>
            <a:cxnSpLocks/>
            <a:endCxn id="27" idx="2"/>
          </p:cNvCxnSpPr>
          <p:nvPr/>
        </p:nvCxnSpPr>
        <p:spPr>
          <a:xfrm>
            <a:off x="6102682" y="4423954"/>
            <a:ext cx="1398256" cy="28141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2ED4FC65-9A74-430A-BDE2-5CC350B5E297}"/>
              </a:ext>
            </a:extLst>
          </p:cNvPr>
          <p:cNvSpPr/>
          <p:nvPr/>
        </p:nvSpPr>
        <p:spPr>
          <a:xfrm>
            <a:off x="7500938" y="4539324"/>
            <a:ext cx="904875" cy="3320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69</TotalTime>
  <Words>75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2_NewSidel_Template_4x3_with add layouts</vt:lpstr>
      <vt:lpstr>think-cell Folie</vt:lpstr>
      <vt:lpstr>Vorbeugen von Lieferengpässen bei Ersatzteil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9</cp:revision>
  <dcterms:created xsi:type="dcterms:W3CDTF">2019-02-20T10:39:16Z</dcterms:created>
  <dcterms:modified xsi:type="dcterms:W3CDTF">2021-02-18T13:0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